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9" r:id="rId1"/>
    <p:sldMasterId id="2147483747" r:id="rId2"/>
  </p:sldMasterIdLst>
  <p:notesMasterIdLst>
    <p:notesMasterId r:id="rId11"/>
  </p:notesMasterIdLst>
  <p:handoutMasterIdLst>
    <p:handoutMasterId r:id="rId12"/>
  </p:handoutMasterIdLst>
  <p:sldIdLst>
    <p:sldId id="303" r:id="rId3"/>
    <p:sldId id="734" r:id="rId4"/>
    <p:sldId id="732" r:id="rId5"/>
    <p:sldId id="733" r:id="rId6"/>
    <p:sldId id="727" r:id="rId7"/>
    <p:sldId id="735" r:id="rId8"/>
    <p:sldId id="729" r:id="rId9"/>
    <p:sldId id="736" r:id="rId10"/>
  </p:sldIdLst>
  <p:sldSz cx="9144000" cy="6858000" type="screen4x3"/>
  <p:notesSz cx="6797675" cy="9928225"/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72AF2F"/>
    <a:srgbClr val="5C88D0"/>
    <a:srgbClr val="2A6EA8"/>
    <a:srgbClr val="B1D254"/>
    <a:srgbClr val="72732F"/>
    <a:srgbClr val="C6D254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91" autoAdjust="0"/>
    <p:restoredTop sz="92507" autoAdjust="0"/>
  </p:normalViewPr>
  <p:slideViewPr>
    <p:cSldViewPr snapToGrid="0">
      <p:cViewPr varScale="1">
        <p:scale>
          <a:sx n="58" d="100"/>
          <a:sy n="58" d="100"/>
        </p:scale>
        <p:origin x="1500" y="4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 varScale="1">
        <p:scale>
          <a:sx n="73" d="100"/>
          <a:sy n="73" d="100"/>
        </p:scale>
        <p:origin x="-2280" y="-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2947778C-B3F3-4F7A-BB91-EB5F63B274A2}" type="datetime1">
              <a:rPr lang="en-US"/>
              <a:pPr>
                <a:defRPr/>
              </a:pPr>
              <a:t>10/20/2020</a:t>
            </a:fld>
            <a:endParaRPr lang="en-US" dirty="0"/>
          </a:p>
        </p:txBody>
      </p:sp>
      <p:sp>
        <p:nvSpPr>
          <p:cNvPr id="92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 smtClean="0">
                <a:latin typeface="Times New Roman" pitchFamily="18" charset="0"/>
              </a:defRPr>
            </a:lvl1pPr>
          </a:lstStyle>
          <a:p>
            <a:pPr>
              <a:defRPr/>
            </a:pPr>
            <a:fld id="{9A2E6ED2-3E23-4C28-8972-3DFEE8710EA4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150198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4ADFB8CB-F854-47F2-9DE9-2171C7CFA03A}" type="datetime1">
              <a:rPr lang="en-US"/>
              <a:pPr>
                <a:defRPr/>
              </a:pPr>
              <a:t>10/20/2020</a:t>
            </a:fld>
            <a:endParaRPr lang="en-US" dirty="0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2950"/>
            <a:ext cx="4965700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16463"/>
            <a:ext cx="4984750" cy="4468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 smtClean="0">
                <a:latin typeface="Times New Roman" pitchFamily="18" charset="0"/>
              </a:defRPr>
            </a:lvl1pPr>
          </a:lstStyle>
          <a:p>
            <a:pPr>
              <a:defRPr/>
            </a:pPr>
            <a:fld id="{1FA72314-C842-479C-B40D-6B35198B29F6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46002044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9B20BC9-C500-49C5-9C37-D50BBA60A0E0}" type="slidenum">
              <a:rPr lang="en-GB" altLang="en-US"/>
              <a:pPr/>
              <a:t>1</a:t>
            </a:fld>
            <a:endParaRPr lang="en-GB" altLang="en-US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2950"/>
            <a:ext cx="4967287" cy="3725863"/>
          </a:xfrm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4875" y="4718050"/>
            <a:ext cx="4987925" cy="4467225"/>
          </a:xfrm>
          <a:noFill/>
          <a:ln/>
        </p:spPr>
        <p:txBody>
          <a:bodyPr/>
          <a:lstStyle/>
          <a:p>
            <a:pPr eaLnBrk="1" hangingPunct="1"/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120480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Informal company position checking: 9 (Option 2) versus 2 (Option 1); </a:t>
            </a:r>
            <a:r>
              <a:rPr lang="en-US" sz="1200" dirty="0">
                <a:solidFill>
                  <a:srgbClr val="FF0000"/>
                </a:solidFill>
              </a:rPr>
              <a:t>Option 2 supported by majority.</a:t>
            </a:r>
            <a:endParaRPr lang="en-US" sz="1200" dirty="0"/>
          </a:p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A72314-C842-479C-B40D-6B35198B29F6}" type="slidenum">
              <a:rPr lang="en-GB" altLang="en-US" smtClean="0"/>
              <a:pPr>
                <a:defRPr/>
              </a:pPr>
              <a:t>2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6280022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dirty="0"/>
              <a:t>S2-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A72314-C842-479C-B40D-6B35198B29F6}" type="slidenum">
              <a:rPr lang="en-GB" altLang="en-US" smtClean="0"/>
              <a:pPr>
                <a:defRPr/>
              </a:pPr>
              <a:t>3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6280022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dirty="0"/>
              <a:t>EN: Charging is FF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A72314-C842-479C-B40D-6B35198B29F6}" type="slidenum">
              <a:rPr lang="en-GB" altLang="en-US" smtClean="0"/>
              <a:pPr>
                <a:defRPr/>
              </a:pPr>
              <a:t>4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1381128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A72314-C842-479C-B40D-6B35198B29F6}" type="slidenum">
              <a:rPr lang="en-GB" altLang="en-US" smtClean="0"/>
              <a:pPr>
                <a:defRPr/>
              </a:pPr>
              <a:t>5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3343646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A72314-C842-479C-B40D-6B35198B29F6}" type="slidenum">
              <a:rPr lang="en-GB" altLang="en-US" smtClean="0"/>
              <a:pPr>
                <a:defRPr/>
              </a:pPr>
              <a:t>6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0743702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A72314-C842-479C-B40D-6B35198B29F6}" type="slidenum">
              <a:rPr lang="en-GB" altLang="en-US" smtClean="0"/>
              <a:pPr>
                <a:defRPr/>
              </a:pPr>
              <a:t>7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42700298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A72314-C842-479C-B40D-6B35198B29F6}" type="slidenum">
              <a:rPr lang="en-GB" altLang="en-US" smtClean="0"/>
              <a:pPr>
                <a:defRPr/>
              </a:pPr>
              <a:t>8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2560691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14"/>
          <p:cNvSpPr txBox="1">
            <a:spLocks noChangeArrowheads="1"/>
          </p:cNvSpPr>
          <p:nvPr userDrawn="1"/>
        </p:nvSpPr>
        <p:spPr bwMode="auto">
          <a:xfrm>
            <a:off x="323850" y="73033"/>
            <a:ext cx="581025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sv-SE" sz="1200" b="1" dirty="0">
                <a:latin typeface="Arial "/>
              </a:rPr>
              <a:t>3GPP TSG SA WG2#141E </a:t>
            </a:r>
          </a:p>
          <a:p>
            <a:pPr eaLnBrk="1" hangingPunct="1">
              <a:defRPr/>
            </a:pPr>
            <a:r>
              <a:rPr lang="sv-SE" sz="1200" b="1" dirty="0" err="1">
                <a:latin typeface="Arial "/>
              </a:rPr>
              <a:t>Elbonia</a:t>
            </a:r>
            <a:r>
              <a:rPr lang="sv-SE" sz="1200" b="1" dirty="0">
                <a:latin typeface="Arial "/>
              </a:rPr>
              <a:t> </a:t>
            </a:r>
            <a:r>
              <a:rPr lang="sv-SE" sz="1200" b="1" dirty="0" err="1">
                <a:latin typeface="Arial "/>
              </a:rPr>
              <a:t>xx-xx</a:t>
            </a:r>
            <a:r>
              <a:rPr lang="sv-SE" sz="1200" b="1" dirty="0">
                <a:latin typeface="Arial "/>
              </a:rPr>
              <a:t>, </a:t>
            </a:r>
            <a:r>
              <a:rPr lang="sv-SE" sz="1200" b="1" dirty="0" err="1">
                <a:latin typeface="Arial "/>
              </a:rPr>
              <a:t>October</a:t>
            </a:r>
            <a:r>
              <a:rPr lang="sv-SE" sz="1200" b="1" dirty="0">
                <a:latin typeface="Arial "/>
              </a:rPr>
              <a:t> 2020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4"/>
            <a:ext cx="7772400" cy="1470025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</p:spTree>
  </p:cSld>
  <p:clrMapOvr>
    <a:masterClrMapping/>
  </p:clrMapOvr>
  <p:transition spd="slow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</p:cSld>
  <p:clrMapOvr>
    <a:masterClrMapping/>
  </p:clrMapOvr>
  <p:transition spd="slow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</p:cSld>
  <p:clrMapOvr>
    <a:masterClrMapping/>
  </p:clrMapOvr>
  <p:transition spd="slow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18120" y="372332"/>
            <a:ext cx="82296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3" y="717056"/>
            <a:ext cx="822764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20" y="372332"/>
            <a:ext cx="82296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418123" y="717056"/>
            <a:ext cx="822764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23863" y="1449917"/>
            <a:ext cx="4032250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1449747"/>
            <a:ext cx="4032250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3" y="717056"/>
            <a:ext cx="822764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6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2.x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AutoShape 14"/>
          <p:cNvSpPr>
            <a:spLocks noChangeArrowheads="1"/>
          </p:cNvSpPr>
          <p:nvPr userDrawn="1"/>
        </p:nvSpPr>
        <p:spPr bwMode="auto">
          <a:xfrm>
            <a:off x="590553" y="6373813"/>
            <a:ext cx="6169025" cy="323851"/>
          </a:xfrm>
          <a:prstGeom prst="homePlate">
            <a:avLst>
              <a:gd name="adj" fmla="val 91541"/>
            </a:avLst>
          </a:prstGeom>
          <a:solidFill>
            <a:srgbClr val="72AF2F">
              <a:alpha val="94901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2051" name="Title Placeholder 1"/>
          <p:cNvSpPr>
            <a:spLocks noGrp="1"/>
          </p:cNvSpPr>
          <p:nvPr>
            <p:ph type="title"/>
          </p:nvPr>
        </p:nvSpPr>
        <p:spPr bwMode="auto">
          <a:xfrm>
            <a:off x="488950" y="228600"/>
            <a:ext cx="6827838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GB" altLang="en-US"/>
          </a:p>
        </p:txBody>
      </p:sp>
      <p:sp>
        <p:nvSpPr>
          <p:cNvPr id="205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85775" y="1454152"/>
            <a:ext cx="8388350" cy="4830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 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GB" alt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595316" y="6394457"/>
            <a:ext cx="4422775" cy="311151"/>
          </a:xfrm>
          <a:prstGeom prst="rect">
            <a:avLst/>
          </a:prstGeom>
          <a:noFill/>
        </p:spPr>
        <p:txBody>
          <a:bodyPr anchor="ctr">
            <a:normAutofit/>
          </a:bodyPr>
          <a:lstStyle/>
          <a:p>
            <a:pPr>
              <a:defRPr/>
            </a:pPr>
            <a:r>
              <a:rPr lang="en-GB" spc="300" dirty="0"/>
              <a:t>3GPP TSG SA WG2, xx-</a:t>
            </a:r>
            <a:r>
              <a:rPr lang="en-GB" spc="300" dirty="0" err="1"/>
              <a:t>xx.October</a:t>
            </a:r>
            <a:r>
              <a:rPr lang="en-GB" spc="300" dirty="0"/>
              <a:t> 2020</a:t>
            </a:r>
            <a:endParaRPr lang="en-GB" spc="300" dirty="0">
              <a:solidFill>
                <a:schemeClr val="bg1"/>
              </a:solidFill>
            </a:endParaRPr>
          </a:p>
        </p:txBody>
      </p:sp>
      <p:sp>
        <p:nvSpPr>
          <p:cNvPr id="12" name="Oval 11"/>
          <p:cNvSpPr/>
          <p:nvPr userDrawn="1"/>
        </p:nvSpPr>
        <p:spPr bwMode="auto">
          <a:xfrm>
            <a:off x="8318512" y="6383345"/>
            <a:ext cx="511175" cy="296863"/>
          </a:xfrm>
          <a:prstGeom prst="ellipse">
            <a:avLst/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defRPr/>
            </a:pPr>
            <a:fld id="{38BB483D-C369-491B-B1D1-2AD91BB702B7}" type="slidenum">
              <a:rPr lang="en-GB" altLang="en-US" b="1"/>
              <a:pPr algn="ctr">
                <a:defRPr/>
              </a:pPr>
              <a:t>‹#›</a:t>
            </a:fld>
            <a:endParaRPr lang="en-GB" altLang="en-US" b="1"/>
          </a:p>
          <a:p>
            <a:pPr>
              <a:defRPr/>
            </a:pPr>
            <a:endParaRPr lang="en-GB" altLang="en-US"/>
          </a:p>
        </p:txBody>
      </p:sp>
      <p:sp>
        <p:nvSpPr>
          <p:cNvPr id="1031" name="Rectangle 15"/>
          <p:cNvSpPr>
            <a:spLocks noChangeArrowheads="1"/>
          </p:cNvSpPr>
          <p:nvPr userDrawn="1"/>
        </p:nvSpPr>
        <p:spPr bwMode="auto">
          <a:xfrm>
            <a:off x="4086225" y="3303595"/>
            <a:ext cx="97174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>
              <a:defRPr/>
            </a:pPr>
            <a:r>
              <a:rPr lang="en-GB">
                <a:solidFill>
                  <a:schemeClr val="bg1"/>
                </a:solidFill>
              </a:rPr>
              <a:t>© 3GPP 2012</a:t>
            </a:r>
            <a:endParaRPr lang="en-GB"/>
          </a:p>
        </p:txBody>
      </p:sp>
      <p:sp>
        <p:nvSpPr>
          <p:cNvPr id="8" name="Text Box 13"/>
          <p:cNvSpPr txBox="1">
            <a:spLocks noChangeArrowheads="1"/>
          </p:cNvSpPr>
          <p:nvPr userDrawn="1"/>
        </p:nvSpPr>
        <p:spPr bwMode="auto">
          <a:xfrm>
            <a:off x="7639052" y="177807"/>
            <a:ext cx="146367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1" hangingPunct="1">
              <a:spcBef>
                <a:spcPct val="50000"/>
              </a:spcBef>
              <a:defRPr/>
            </a:pPr>
            <a:r>
              <a:rPr lang="en-GB" sz="1200" b="1" dirty="0"/>
              <a:t>S2-20xxxx</a:t>
            </a:r>
            <a:endParaRPr lang="en-GB" sz="1200" dirty="0">
              <a:solidFill>
                <a:schemeClr val="bg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3" r:id="rId2"/>
    <p:sldLayoutId id="2147483744" r:id="rId3"/>
  </p:sldLayoutIdLst>
  <p:transition spd="slow"/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Blip>
          <a:blip r:embed="rId5"/>
        </a:buBlip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itchFamily="34" charset="0"/>
        <a:buChar char="•"/>
        <a:defRPr sz="24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9" y="2119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31" name="Object 3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9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791633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 dirty="0">
              <a:solidFill>
                <a:srgbClr val="124191"/>
              </a:solidFill>
              <a:latin typeface="Nokia Pure Headline Light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179388" y="65532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1128184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456267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6220884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58674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374651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417513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8656638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372533"/>
            <a:ext cx="82296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452042"/>
            <a:ext cx="82296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9144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>
              <a:lnSpc>
                <a:spcPct val="90000"/>
              </a:lnSpc>
              <a:spcBef>
                <a:spcPct val="50000"/>
              </a:spcBef>
              <a:buClr>
                <a:srgbClr val="00C9FF"/>
              </a:buClr>
              <a:defRPr/>
            </a:pPr>
            <a:r>
              <a:rPr lang="en-US" dirty="0">
                <a:solidFill>
                  <a:srgbClr val="FFFFFF"/>
                </a:solidFill>
                <a:latin typeface="Nokia Pure Text Light"/>
                <a:cs typeface="+mn-cs"/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474790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1835150" y="6944786"/>
            <a:ext cx="287338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R 0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3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fontAlgn="auto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latin typeface="Nokia Pure Text Light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US" sz="500" b="1" dirty="0">
                <a:solidFill>
                  <a:srgbClr val="FFFFFF"/>
                </a:solidFill>
                <a:latin typeface="Nokia Pure Text Light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US" sz="500" b="1" dirty="0">
                <a:solidFill>
                  <a:srgbClr val="FFFFFF"/>
                </a:solidFill>
                <a:latin typeface="Nokia Pure Text Light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51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5" y="6944786"/>
            <a:ext cx="287338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647713" y="6944786"/>
            <a:ext cx="792163" cy="179916"/>
          </a:xfrm>
          <a:prstGeom prst="rect">
            <a:avLst/>
          </a:prstGeom>
          <a:noFill/>
          <a:ln>
            <a:noFill/>
          </a:ln>
        </p:spPr>
        <p:txBody>
          <a:bodyPr wrap="none" lIns="18000" tIns="0" rIns="36000" bIns="0" anchor="ctr"/>
          <a:lstStyle/>
          <a:p>
            <a:pPr algn="r"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</a:rPr>
              <a:t>Core and </a:t>
            </a: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ackground</a:t>
            </a:r>
            <a:r>
              <a:rPr lang="en-GB" sz="500" b="1" dirty="0">
                <a:solidFill>
                  <a:srgbClr val="FFFFFF"/>
                </a:solidFill>
              </a:rPr>
              <a:t>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474790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1835150" y="6944786"/>
            <a:ext cx="287338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195513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fontAlgn="auto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647713" y="6944786"/>
            <a:ext cx="792163" cy="179916"/>
          </a:xfrm>
          <a:prstGeom prst="rect">
            <a:avLst/>
          </a:prstGeom>
          <a:noFill/>
          <a:ln>
            <a:noFill/>
          </a:ln>
        </p:spPr>
        <p:txBody>
          <a:bodyPr wrap="none" lIns="18000" tIns="0" rIns="36000" bIns="0" anchor="ctr"/>
          <a:lstStyle/>
          <a:p>
            <a:pPr algn="r"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722326" y="6191252"/>
            <a:ext cx="687387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>
                <a:defRPr/>
              </a:pPr>
              <a:t>20/10/2020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433388" y="6191252"/>
            <a:ext cx="144462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9" cstate="screen"/>
          <a:srcRect/>
          <a:stretch>
            <a:fillRect/>
          </a:stretch>
        </p:blipFill>
        <p:spPr bwMode="auto">
          <a:xfrm>
            <a:off x="7959738" y="6229351"/>
            <a:ext cx="701675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341441" y="6191259"/>
            <a:ext cx="6078537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eaLnBrk="1" hangingPunct="1"/>
            <a:r>
              <a:rPr lang="en-GB" sz="800" dirty="0">
                <a:solidFill>
                  <a:srgbClr val="68717A"/>
                </a:solidFill>
                <a:latin typeface="Nokia Pure Text Light"/>
                <a:cs typeface="Arial" charset="0"/>
              </a:rPr>
              <a:t>© Nokia 2015 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503366" y="6333067"/>
            <a:ext cx="6078537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eaLnBrk="1" hangingPunct="1">
              <a:defRPr/>
            </a:pPr>
            <a:endParaRPr lang="en-GB" sz="800" dirty="0">
              <a:solidFill>
                <a:srgbClr val="68717A"/>
              </a:solidFill>
            </a:endParaRPr>
          </a:p>
          <a:p>
            <a:pPr defTabSz="457200" eaLnBrk="1" hangingPunct="1">
              <a:defRPr/>
            </a:pPr>
            <a:endParaRPr lang="en-GB" sz="800" dirty="0">
              <a:solidFill>
                <a:srgbClr val="68717A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32002" y="6383875"/>
            <a:ext cx="6078537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eaLnBrk="1" hangingPunct="1">
              <a:defRPr/>
            </a:pPr>
            <a:r>
              <a:rPr lang="en-GB" sz="800">
                <a:solidFill>
                  <a:srgbClr val="68717A"/>
                </a:solidFill>
                <a:latin typeface="Nokia Pure Text Light"/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latin typeface="Nokia Pure Text Light"/>
              <a:cs typeface="Arial" charset="0"/>
            </a:endParaRPr>
          </a:p>
        </p:txBody>
      </p:sp>
      <p:sp>
        <p:nvSpPr>
          <p:cNvPr id="33" name="Text Box 13"/>
          <p:cNvSpPr txBox="1">
            <a:spLocks noChangeArrowheads="1"/>
          </p:cNvSpPr>
          <p:nvPr userDrawn="1"/>
        </p:nvSpPr>
        <p:spPr bwMode="auto">
          <a:xfrm>
            <a:off x="7649938" y="68947"/>
            <a:ext cx="146367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1" hangingPunct="1">
              <a:spcBef>
                <a:spcPct val="50000"/>
              </a:spcBef>
              <a:defRPr/>
            </a:pPr>
            <a:r>
              <a:rPr lang="en-GB" sz="1200" b="1" dirty="0"/>
              <a:t>S2-153083</a:t>
            </a:r>
            <a:endParaRPr lang="en-GB" sz="1200" dirty="0">
              <a:solidFill>
                <a:schemeClr val="bg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10363" y="1357745"/>
            <a:ext cx="8176437" cy="2119746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en-US" sz="4000" b="1" dirty="0" err="1"/>
              <a:t>FS_IIoT</a:t>
            </a:r>
            <a:br>
              <a:rPr lang="en-US" sz="4000" b="1" dirty="0"/>
            </a:br>
            <a:r>
              <a:rPr lang="en-US" sz="4000" b="1" dirty="0"/>
              <a:t>Show of hands questions</a:t>
            </a:r>
            <a:endParaRPr lang="en-GB" sz="4000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4099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br>
              <a:rPr lang="en-US" altLang="en-US" sz="2000" dirty="0"/>
            </a:br>
            <a:r>
              <a:rPr lang="en-US" altLang="en-US" sz="2000" dirty="0">
                <a:latin typeface="Arial" pitchFamily="34" charset="0"/>
              </a:rPr>
              <a:t>Nokia (Rapporteur)</a:t>
            </a:r>
            <a:endParaRPr lang="en-GB" altLang="en-US" sz="2000" dirty="0">
              <a:latin typeface="Arial" pitchFamily="34" charset="0"/>
            </a:endParaRPr>
          </a:p>
        </p:txBody>
      </p:sp>
    </p:spTree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578126-592B-44F1-83F1-2FD85F73B6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b="1" dirty="0"/>
              <a:t>Questions:</a:t>
            </a:r>
          </a:p>
          <a:p>
            <a:pPr lvl="1"/>
            <a:r>
              <a:rPr lang="en-US" sz="1800" b="1" dirty="0"/>
              <a:t>Options for BMCA:</a:t>
            </a:r>
          </a:p>
          <a:p>
            <a:pPr lvl="2"/>
            <a:r>
              <a:rPr lang="en-US" sz="1800" b="1" dirty="0"/>
              <a:t>Option 1: BMCA is C-plane based; TSN AF executes BMCA method. </a:t>
            </a:r>
          </a:p>
          <a:p>
            <a:pPr lvl="2"/>
            <a:r>
              <a:rPr lang="en-US" sz="1800" dirty="0"/>
              <a:t>Ingress port forwards the Announce messages to TSN AF (or NEF) for BMCA procedure which determines the PTP port states, TSN AF (or NEF) informs the DS-TT and/or NW-TT port states if needed. </a:t>
            </a:r>
          </a:p>
          <a:p>
            <a:pPr lvl="2"/>
            <a:r>
              <a:rPr lang="en-US" sz="1800" b="1" dirty="0"/>
              <a:t>Support Option 1 for BMCA? (YES/NO)</a:t>
            </a:r>
          </a:p>
          <a:p>
            <a:pPr lvl="2"/>
            <a:r>
              <a:rPr lang="en-US" sz="1800" b="1" dirty="0"/>
              <a:t>Option 2: BMCA is U-plane based; NW-TT executes BMCA method. </a:t>
            </a:r>
          </a:p>
          <a:p>
            <a:pPr lvl="2"/>
            <a:r>
              <a:rPr lang="en-US" sz="1800" dirty="0"/>
              <a:t>Ingress port forwards the Announce messages to NW-TT for BMCA procedure which determines the PTP port states and informs TSN AF (or NEF) on the BMCA result if needed.  </a:t>
            </a:r>
          </a:p>
          <a:p>
            <a:pPr lvl="2"/>
            <a:r>
              <a:rPr lang="en-US" sz="1800" b="1" dirty="0"/>
              <a:t>Support Option 2 for BMCA? (YES/NO)</a:t>
            </a:r>
          </a:p>
          <a:p>
            <a:pPr lvl="2"/>
            <a:r>
              <a:rPr lang="en-US" sz="1800" dirty="0">
                <a:solidFill>
                  <a:srgbClr val="FF0000"/>
                </a:solidFill>
              </a:rPr>
              <a:t>Way forward: &lt; &gt; Option 2 is proposed as way forward.</a:t>
            </a:r>
          </a:p>
          <a:p>
            <a:pPr lvl="2"/>
            <a:r>
              <a:rPr lang="en-US" sz="1800" dirty="0">
                <a:solidFill>
                  <a:srgbClr val="FF0000"/>
                </a:solidFill>
              </a:rPr>
              <a:t>Use 7746 as the baseline for Option 2.</a:t>
            </a:r>
          </a:p>
          <a:p>
            <a:pPr lvl="2"/>
            <a:endParaRPr lang="en-US" sz="1800" dirty="0"/>
          </a:p>
          <a:p>
            <a:pPr marL="914400" lvl="2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CE7ADD6-D990-4940-BEC3-09CA2C327F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228600"/>
            <a:ext cx="6827838" cy="1143000"/>
          </a:xfrm>
        </p:spPr>
        <p:txBody>
          <a:bodyPr/>
          <a:lstStyle/>
          <a:p>
            <a:r>
              <a:rPr lang="en-US" dirty="0"/>
              <a:t>Key Issue #1 </a:t>
            </a:r>
            <a:br>
              <a:rPr lang="en-US" dirty="0"/>
            </a:br>
            <a:r>
              <a:rPr lang="en-US" dirty="0"/>
              <a:t>Uplink Time Synchronization</a:t>
            </a:r>
          </a:p>
        </p:txBody>
      </p:sp>
    </p:spTree>
    <p:extLst>
      <p:ext uri="{BB962C8B-B14F-4D97-AF65-F5344CB8AC3E}">
        <p14:creationId xmlns:p14="http://schemas.microsoft.com/office/powerpoint/2010/main" val="3821184932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4200EA-B8B2-4A78-9F4F-66CC150E6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Issue #2</a:t>
            </a:r>
            <a:br>
              <a:rPr lang="en-US" dirty="0"/>
            </a:br>
            <a:r>
              <a:rPr lang="en-US" dirty="0"/>
              <a:t>UE-UE TSC Communic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578126-592B-44F1-83F1-2FD85F73B6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Background</a:t>
            </a:r>
          </a:p>
          <a:p>
            <a:pPr lvl="1"/>
            <a:r>
              <a:rPr lang="en-US" sz="1800" dirty="0"/>
              <a:t>Item 1: Varying views on support for UE-UE communication for IEEE TSN bridge with or without any pre-configuration.</a:t>
            </a:r>
          </a:p>
          <a:p>
            <a:r>
              <a:rPr lang="en-US" sz="1800" dirty="0"/>
              <a:t>Questions:</a:t>
            </a:r>
          </a:p>
          <a:p>
            <a:pPr lvl="1"/>
            <a:r>
              <a:rPr lang="en-US" sz="1800" dirty="0"/>
              <a:t>Option 1: Allow UE-UE communication, 5GS acting as IEEE TSN bridge supported only if </a:t>
            </a:r>
            <a:r>
              <a:rPr lang="en-US" altLang="zh-CN" sz="1800" b="1" dirty="0"/>
              <a:t>they are allowed as configured for e.g., same member of a group, same DNN/S-NSSAI</a:t>
            </a:r>
            <a:r>
              <a:rPr lang="en-US" sz="1800" dirty="0"/>
              <a:t>. Support Option 1 for UE-UE communication?</a:t>
            </a:r>
          </a:p>
          <a:p>
            <a:pPr lvl="1"/>
            <a:r>
              <a:rPr lang="en-US" sz="1800" dirty="0"/>
              <a:t>Option 2: Allow UE-UE communication considering AF request for QoS, as long as they are within the same 5GS acting as IEEE TSN Bridge for ETH PDU Sessions. Support Option 2 for UE-UE communication?</a:t>
            </a:r>
          </a:p>
          <a:p>
            <a:pPr lvl="1"/>
            <a:r>
              <a:rPr lang="en-US" sz="1800" dirty="0"/>
              <a:t>Option 3: Allow both options – option 1 &amp; 2. Support Option 3 for UE-UE communication?</a:t>
            </a:r>
          </a:p>
          <a:p>
            <a:pPr lvl="1"/>
            <a:r>
              <a:rPr lang="en-US" sz="1800" dirty="0">
                <a:solidFill>
                  <a:srgbClr val="FF0000"/>
                </a:solidFill>
              </a:rPr>
              <a:t>Way forward: &lt; &gt; Capture the principle “UE-UE communication (using local switching) is supported for all the UE(s) connected to the same DNN/S-NSSAI, terminating on the same UPF network instance.“</a:t>
            </a:r>
          </a:p>
          <a:p>
            <a:pPr lvl="2"/>
            <a:endParaRPr lang="en-US" sz="1800" dirty="0"/>
          </a:p>
          <a:p>
            <a:pPr marL="914400" lvl="2" indent="0">
              <a:buNone/>
            </a:pPr>
            <a:endParaRPr lang="en-US" sz="18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6912134"/>
      </p:ext>
    </p:extLst>
  </p:cSld>
  <p:clrMapOvr>
    <a:masterClrMapping/>
  </p:clrMapOvr>
  <p:transition spd="slow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4200EA-B8B2-4A78-9F4F-66CC150E6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Issue #2</a:t>
            </a:r>
            <a:br>
              <a:rPr lang="en-US" dirty="0"/>
            </a:br>
            <a:r>
              <a:rPr lang="en-US" dirty="0"/>
              <a:t>UE-UE TSC Communic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578126-592B-44F1-83F1-2FD85F73B6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Background</a:t>
            </a:r>
          </a:p>
          <a:p>
            <a:pPr lvl="1"/>
            <a:r>
              <a:rPr lang="en-US" sz="1800" dirty="0"/>
              <a:t>Item 2: Varying views on how the local switching within UPF should be controlled.</a:t>
            </a:r>
          </a:p>
          <a:p>
            <a:pPr marL="342900" lvl="2" indent="-342900">
              <a:buBlip>
                <a:blip r:embed="rId3"/>
              </a:buBlip>
            </a:pPr>
            <a:r>
              <a:rPr lang="en-US" sz="1800" dirty="0">
                <a:solidFill>
                  <a:srgbClr val="FF0000"/>
                </a:solidFill>
                <a:ea typeface="+mn-ea"/>
                <a:cs typeface="+mn-cs"/>
              </a:rPr>
              <a:t>Way forward: &lt; &gt; Capture the principles “For IP PDU Sessions, UE-UE communication using local switching (without routing via N6) can be supported by UPF implementation based on operator policies.</a:t>
            </a:r>
            <a:r>
              <a:rPr lang="en-US" altLang="zh-CN" sz="1800" dirty="0">
                <a:solidFill>
                  <a:srgbClr val="FF0000"/>
                </a:solidFill>
              </a:rPr>
              <a:t>” </a:t>
            </a:r>
          </a:p>
          <a:p>
            <a:pPr marL="342900" lvl="2" indent="-342900">
              <a:buBlip>
                <a:blip r:embed="rId3"/>
              </a:buBlip>
            </a:pPr>
            <a:r>
              <a:rPr lang="en-US" sz="1800" dirty="0">
                <a:solidFill>
                  <a:srgbClr val="FF0000"/>
                </a:solidFill>
                <a:ea typeface="+mn-ea"/>
                <a:cs typeface="+mn-cs"/>
              </a:rPr>
              <a:t>Samsung’s paper – Use S2-2007058 as basis.</a:t>
            </a:r>
          </a:p>
          <a:p>
            <a:pPr marL="914400" lvl="2" indent="0">
              <a:buNone/>
            </a:pPr>
            <a:endParaRPr lang="en-US" sz="18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3656122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FFCCD4-A457-47E3-BB09-2A4CCDAC17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Issue #3A </a:t>
            </a:r>
            <a:br>
              <a:rPr lang="en-US" dirty="0"/>
            </a:br>
            <a:r>
              <a:rPr lang="en-US" dirty="0"/>
              <a:t>Support for deterministic servi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EEF122-904C-45BD-B2F2-57A8D898BD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Background: </a:t>
            </a:r>
          </a:p>
          <a:p>
            <a:pPr lvl="1"/>
            <a:r>
              <a:rPr lang="en-US" sz="1800" dirty="0"/>
              <a:t>Key issue 3A “focuses on enhancing the NEF framework”; all areas for study of KI#3A only deal with the NEF-AF (TR 23.700-20 clause 5.3.2)</a:t>
            </a:r>
          </a:p>
          <a:p>
            <a:pPr lvl="1"/>
            <a:r>
              <a:rPr lang="en-US" sz="1800" dirty="0"/>
              <a:t>There is no explicit SA1 requirement about a need for hold and forward functionality for VIAPA services, i.e. SA2 needs to reconfirm with SA1 first.</a:t>
            </a:r>
          </a:p>
          <a:p>
            <a:r>
              <a:rPr lang="en-US" sz="1800" dirty="0"/>
              <a:t>Way forward:</a:t>
            </a:r>
          </a:p>
          <a:p>
            <a:pPr lvl="1"/>
            <a:r>
              <a:rPr lang="en-US" sz="1800" dirty="0"/>
              <a:t>For ETH PDU Sessions, document that </a:t>
            </a:r>
            <a:r>
              <a:rPr lang="en-US" sz="1800" dirty="0" err="1"/>
              <a:t>Qbv</a:t>
            </a:r>
            <a:r>
              <a:rPr lang="en-US" sz="1800" dirty="0"/>
              <a:t> parameters can be derived by NEF/PCF based on AF request (with no impact to nodes other than NEF/PCF) and an EN that we will confirm with SA1 whether there is a requirement. </a:t>
            </a:r>
          </a:p>
          <a:p>
            <a:pPr lvl="1"/>
            <a:r>
              <a:rPr lang="en-US" sz="1800" dirty="0"/>
              <a:t>Send an LS to SA1 to confirm if there is a requirement.</a:t>
            </a:r>
          </a:p>
          <a:p>
            <a:pPr lvl="1"/>
            <a:r>
              <a:rPr lang="en-US" sz="1800" dirty="0"/>
              <a:t>Note: Rel-16 hold and forward functionality in DS-TT and NW-TT is assumed to be reused as-is.</a:t>
            </a:r>
          </a:p>
          <a:p>
            <a:pPr lvl="1"/>
            <a:r>
              <a:rPr lang="en-US" sz="1800" dirty="0"/>
              <a:t>S2-2007004 is assumed as the baseline.</a:t>
            </a:r>
          </a:p>
          <a:p>
            <a:pPr marL="457200" lvl="1" indent="0">
              <a:buNone/>
            </a:pPr>
            <a:endParaRPr lang="en-US" sz="1800" dirty="0"/>
          </a:p>
          <a:p>
            <a:pPr lvl="1"/>
            <a:endParaRPr lang="en-US" sz="1800" dirty="0"/>
          </a:p>
          <a:p>
            <a:pPr lvl="1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66559788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FFCCD4-A457-47E3-BB09-2A4CCDAC17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Issue #3A </a:t>
            </a:r>
            <a:br>
              <a:rPr lang="en-US" dirty="0"/>
            </a:br>
            <a:r>
              <a:rPr lang="en-US" dirty="0"/>
              <a:t>Support for deterministic servi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EEF122-904C-45BD-B2F2-57A8D898BD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sz="1800" dirty="0"/>
              <a:t>Burst spread is used as TSCAI for scheduling optimization</a:t>
            </a:r>
          </a:p>
          <a:p>
            <a:pPr lvl="1"/>
            <a:r>
              <a:rPr lang="en-US" altLang="zh-CN" sz="1800" dirty="0"/>
              <a:t>Way forward: Need for Burst Spread FFS. </a:t>
            </a:r>
          </a:p>
          <a:p>
            <a:pPr lvl="1"/>
            <a:endParaRPr lang="en-US" altLang="zh-CN" sz="1800" dirty="0"/>
          </a:p>
          <a:p>
            <a:pPr lvl="1"/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389231241"/>
      </p:ext>
    </p:extLst>
  </p:cSld>
  <p:clrMapOvr>
    <a:masterClrMapping/>
  </p:clrMapOvr>
  <p:transition spd="slow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C25683-A7FB-4D8F-AF7D-D0F012760F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Issue #3B </a:t>
            </a:r>
            <a:r>
              <a:rPr lang="en-GB" dirty="0"/>
              <a:t>Exposure of TSC services</a:t>
            </a:r>
            <a:br>
              <a:rPr lang="en-US" b="1" dirty="0"/>
            </a:br>
            <a:r>
              <a:rPr lang="en-GB" dirty="0"/>
              <a:t>Exposure of Time Synchronizatio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89258C-F3B0-4661-9461-6BE5C76AD5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Background</a:t>
            </a:r>
          </a:p>
          <a:p>
            <a:pPr lvl="1"/>
            <a:r>
              <a:rPr lang="en-GB" sz="1800" dirty="0"/>
              <a:t>Conclusion has the following:</a:t>
            </a:r>
          </a:p>
          <a:p>
            <a:pPr lvl="1"/>
            <a:r>
              <a:rPr lang="en-GB" sz="1800" dirty="0"/>
              <a:t>Editor's note:	</a:t>
            </a:r>
            <a:r>
              <a:rPr lang="en-US" sz="1800" dirty="0"/>
              <a:t>whether there is a need to include validity time for AF time sync request is FFS. Also, how to support validity time is FFS.</a:t>
            </a:r>
          </a:p>
          <a:p>
            <a:pPr marL="342900" lvl="1" indent="-342900">
              <a:buBlip>
                <a:blip r:embed="rId3"/>
              </a:buBlip>
            </a:pPr>
            <a:r>
              <a:rPr lang="en-US" sz="1800" dirty="0">
                <a:ea typeface="+mn-ea"/>
                <a:cs typeface="+mn-cs"/>
              </a:rPr>
              <a:t>Options:</a:t>
            </a:r>
          </a:p>
          <a:p>
            <a:pPr lvl="1"/>
            <a:r>
              <a:rPr lang="en-GB" sz="1800" dirty="0"/>
              <a:t>Option 1: AF assumed to activate and deactivate requests for all the DS-TT(s) (thus maintain validity period accordingly). </a:t>
            </a:r>
          </a:p>
          <a:p>
            <a:pPr lvl="1"/>
            <a:r>
              <a:rPr lang="en-GB" sz="1800" dirty="0"/>
              <a:t>Option 2: AF provides validity period for the request, 5GS maintains the validity period (i.e. new activate requests are not allowed when the validity period expires). </a:t>
            </a:r>
          </a:p>
          <a:p>
            <a:pPr lvl="1"/>
            <a:r>
              <a:rPr lang="en-GB" sz="1800" dirty="0"/>
              <a:t>Way forward: Option 1 seems to be preferred?</a:t>
            </a:r>
          </a:p>
          <a:p>
            <a:pPr marL="342900" lvl="1" indent="-342900">
              <a:buBlip>
                <a:blip r:embed="rId3"/>
              </a:buBlip>
            </a:pPr>
            <a:endParaRPr lang="en-US" sz="1800" dirty="0">
              <a:ea typeface="+mn-ea"/>
              <a:cs typeface="+mn-cs"/>
            </a:endParaRPr>
          </a:p>
          <a:p>
            <a:pPr marL="342900" lvl="1" indent="-342900">
              <a:buBlip>
                <a:blip r:embed="rId3"/>
              </a:buBlip>
            </a:pPr>
            <a:endParaRPr lang="en-US" sz="2800" dirty="0">
              <a:ea typeface="+mn-ea"/>
              <a:cs typeface="+mn-cs"/>
            </a:endParaRP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5128638"/>
      </p:ext>
    </p:extLst>
  </p:cSld>
  <p:clrMapOvr>
    <a:masterClrMapping/>
  </p:clrMapOvr>
  <p:transition spd="slow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C25683-A7FB-4D8F-AF7D-D0F012760F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Issue #5 Survival Tim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89258C-F3B0-4661-9461-6BE5C76AD5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Background</a:t>
            </a:r>
          </a:p>
          <a:p>
            <a:pPr lvl="1"/>
            <a:r>
              <a:rPr lang="en-US" sz="1800" dirty="0"/>
              <a:t>Do we need additional parameter – communication service availability?</a:t>
            </a:r>
          </a:p>
          <a:p>
            <a:pPr marL="342900" lvl="1" indent="-342900">
              <a:buBlip>
                <a:blip r:embed="rId3"/>
              </a:buBlip>
            </a:pPr>
            <a:r>
              <a:rPr lang="en-US" sz="1800" dirty="0">
                <a:ea typeface="+mn-ea"/>
                <a:cs typeface="+mn-cs"/>
              </a:rPr>
              <a:t>Options</a:t>
            </a:r>
          </a:p>
          <a:p>
            <a:pPr lvl="1"/>
            <a:r>
              <a:rPr lang="en-GB" sz="1800" dirty="0"/>
              <a:t>Do we need to ask RAN regarding the need for communication service availability to fulfil survival time?</a:t>
            </a:r>
          </a:p>
          <a:p>
            <a:pPr lvl="1"/>
            <a:r>
              <a:rPr lang="en-GB" sz="1800" dirty="0"/>
              <a:t>Target to send the LS out on survival time from SA2#141E.</a:t>
            </a:r>
          </a:p>
          <a:p>
            <a:pPr lvl="1"/>
            <a:endParaRPr lang="en-GB" sz="1800" dirty="0"/>
          </a:p>
          <a:p>
            <a:pPr marL="342900" lvl="1" indent="-342900">
              <a:buBlip>
                <a:blip r:embed="rId3"/>
              </a:buBlip>
            </a:pPr>
            <a:endParaRPr lang="en-US" sz="1800" dirty="0">
              <a:ea typeface="+mn-ea"/>
              <a:cs typeface="+mn-cs"/>
            </a:endParaRPr>
          </a:p>
          <a:p>
            <a:pPr marL="342900" lvl="1" indent="-342900">
              <a:buBlip>
                <a:blip r:embed="rId3"/>
              </a:buBlip>
            </a:pPr>
            <a:endParaRPr lang="en-US" sz="2800" dirty="0">
              <a:ea typeface="+mn-ea"/>
              <a:cs typeface="+mn-cs"/>
            </a:endParaRP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4273904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nokia powerpoint template nokia pure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Pure v2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Nokia Pure v12" id="{7AC05BEF-BBDF-4CF1-AA23-A676535EABCE}" vid="{991539CA-B441-4AED-8339-F6770207F6A2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262</TotalTime>
  <Words>802</Words>
  <Application>Microsoft Office PowerPoint</Application>
  <PresentationFormat>On-screen Show (4:3)</PresentationFormat>
  <Paragraphs>71</Paragraphs>
  <Slides>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8" baseType="lpstr">
      <vt:lpstr>Arial</vt:lpstr>
      <vt:lpstr>Arial </vt:lpstr>
      <vt:lpstr>Calibri</vt:lpstr>
      <vt:lpstr>Lucida Grande</vt:lpstr>
      <vt:lpstr>Nokia Pure Headline Light</vt:lpstr>
      <vt:lpstr>Nokia Pure Text Light</vt:lpstr>
      <vt:lpstr>Times New Roman</vt:lpstr>
      <vt:lpstr>Office Theme</vt:lpstr>
      <vt:lpstr>nokia powerpoint template nokia pure v13</vt:lpstr>
      <vt:lpstr>think-cell Slide</vt:lpstr>
      <vt:lpstr>FS_IIoT Show of hands questions</vt:lpstr>
      <vt:lpstr>Key Issue #1  Uplink Time Synchronization</vt:lpstr>
      <vt:lpstr>Key Issue #2 UE-UE TSC Communication</vt:lpstr>
      <vt:lpstr>Key Issue #2 UE-UE TSC Communication</vt:lpstr>
      <vt:lpstr>Key Issue #3A  Support for deterministic services</vt:lpstr>
      <vt:lpstr>Key Issue #3A  Support for deterministic services</vt:lpstr>
      <vt:lpstr>Key Issue #3B Exposure of TSC services Exposure of Time Synchronization</vt:lpstr>
      <vt:lpstr>Key Issue #5 Survival Time</vt:lpstr>
    </vt:vector>
  </TitlesOfParts>
  <Company>3GP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Scrase</dc:creator>
  <dc:description>© 2009  All rights reserved</dc:description>
  <cp:lastModifiedBy>Nokia-rev</cp:lastModifiedBy>
  <cp:revision>810</cp:revision>
  <dcterms:created xsi:type="dcterms:W3CDTF">2008-08-30T09:32:10Z</dcterms:created>
  <dcterms:modified xsi:type="dcterms:W3CDTF">2020-10-20T12:57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flag">
    <vt:lpwstr>1436835755</vt:lpwstr>
  </property>
  <property fmtid="{D5CDD505-2E9C-101B-9397-08002B2CF9AE}" pid="3" name="_2015_ms_pID_725343">
    <vt:lpwstr>(2)az6LWZ/BzkH29ORZnQ1RTKIQg96V0vMjZ3UOLPjixIiRMweWfd7HeT6bBSfibyV6gbOx4hho
UguQ3NvCE8oNOQBb2NC+3HJSU1ci4zWWqJrxL1YhSS6f2QdSOlW9aUBA9h7rb59YI9Ixa33D
qw+3UexXsJmTXy1Sim/Fqm4Je+8pDx4Z7YmYStlrnQ1995J1gI6+eL29fmrKzb2QpCxk7Trw
qlr4m7QRjzu0W/kyJO</vt:lpwstr>
  </property>
  <property fmtid="{D5CDD505-2E9C-101B-9397-08002B2CF9AE}" pid="4" name="_2015_ms_pID_7253431">
    <vt:lpwstr>nOSRa3x7AQ3IgXmi84fNQuxUgKLV8+bOvMozq4FuG1irhlJjIxeD0d
Ljvf4yDFqpNQuqRAAy/AzAr4hogVFv1VVHqPPi/uJbIL3SaW4sFXjk/MmPK64Su6SWHHbgTR
N7Z2uCY0UqyhszyWtx03lKW98zFpqZtw4xmCCqb3Fp7STymhH6/mcYoHDbS38w+J9uqbqHnZ
m/emk2rXF1BPpgHL</vt:lpwstr>
  </property>
</Properties>
</file>